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5" r:id="rId2"/>
    <p:sldMasterId id="2147483682" r:id="rId3"/>
    <p:sldMasterId id="2147483705" r:id="rId4"/>
  </p:sldMasterIdLst>
  <p:notesMasterIdLst>
    <p:notesMasterId r:id="rId20"/>
  </p:notesMasterIdLst>
  <p:sldIdLst>
    <p:sldId id="1402" r:id="rId5"/>
    <p:sldId id="1403" r:id="rId6"/>
    <p:sldId id="1405" r:id="rId7"/>
    <p:sldId id="1404" r:id="rId8"/>
    <p:sldId id="1406" r:id="rId9"/>
    <p:sldId id="1407" r:id="rId10"/>
    <p:sldId id="1408" r:id="rId11"/>
    <p:sldId id="1409" r:id="rId12"/>
    <p:sldId id="1410" r:id="rId13"/>
    <p:sldId id="1411" r:id="rId14"/>
    <p:sldId id="1413" r:id="rId15"/>
    <p:sldId id="1414" r:id="rId16"/>
    <p:sldId id="1415" r:id="rId17"/>
    <p:sldId id="1416" r:id="rId18"/>
    <p:sldId id="1417" r:id="rId19"/>
  </p:sldIdLst>
  <p:sldSz cx="12192000" cy="6858000"/>
  <p:notesSz cx="6858000" cy="9144000"/>
  <p:custDataLst>
    <p:tags r:id="rId2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5983"/>
    <a:srgbClr val="D31145"/>
    <a:srgbClr val="E0D764"/>
    <a:srgbClr val="FF5050"/>
    <a:srgbClr val="00FF00"/>
    <a:srgbClr val="00CD61"/>
    <a:srgbClr val="FA9106"/>
    <a:srgbClr val="E6E6E6"/>
    <a:srgbClr val="BFBFBF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501" autoAdjust="0"/>
  </p:normalViewPr>
  <p:slideViewPr>
    <p:cSldViewPr snapToGrid="0">
      <p:cViewPr varScale="1">
        <p:scale>
          <a:sx n="70" d="100"/>
          <a:sy n="70" d="100"/>
        </p:scale>
        <p:origin x="618" y="48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9386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08</c:v>
                </c:pt>
                <c:pt idx="1">
                  <c:v>44209</c:v>
                </c:pt>
                <c:pt idx="2">
                  <c:v>44210</c:v>
                </c:pt>
                <c:pt idx="3">
                  <c:v>44211</c:v>
                </c:pt>
                <c:pt idx="4">
                  <c:v>44212</c:v>
                </c:pt>
                <c:pt idx="5">
                  <c:v>44213</c:v>
                </c:pt>
                <c:pt idx="6">
                  <c:v>44214</c:v>
                </c:pt>
                <c:pt idx="7">
                  <c:v>44215</c:v>
                </c:pt>
                <c:pt idx="8">
                  <c:v>44216</c:v>
                </c:pt>
                <c:pt idx="9">
                  <c:v>44217</c:v>
                </c:pt>
                <c:pt idx="10">
                  <c:v>44218</c:v>
                </c:pt>
                <c:pt idx="11">
                  <c:v>44219</c:v>
                </c:pt>
                <c:pt idx="12">
                  <c:v>44220</c:v>
                </c:pt>
                <c:pt idx="13">
                  <c:v>44221</c:v>
                </c:pt>
                <c:pt idx="14">
                  <c:v>44222</c:v>
                </c:pt>
                <c:pt idx="15">
                  <c:v>44223</c:v>
                </c:pt>
                <c:pt idx="16">
                  <c:v>44224</c:v>
                </c:pt>
                <c:pt idx="17">
                  <c:v>44225</c:v>
                </c:pt>
                <c:pt idx="18">
                  <c:v>44226</c:v>
                </c:pt>
                <c:pt idx="19">
                  <c:v>44227</c:v>
                </c:pt>
                <c:pt idx="20">
                  <c:v>44228</c:v>
                </c:pt>
                <c:pt idx="21">
                  <c:v>44229</c:v>
                </c:pt>
                <c:pt idx="22">
                  <c:v>44230</c:v>
                </c:pt>
                <c:pt idx="23">
                  <c:v>44231</c:v>
                </c:pt>
                <c:pt idx="24">
                  <c:v>44232</c:v>
                </c:pt>
                <c:pt idx="25">
                  <c:v>44233</c:v>
                </c:pt>
                <c:pt idx="26">
                  <c:v>44234</c:v>
                </c:pt>
                <c:pt idx="27">
                  <c:v>44235</c:v>
                </c:pt>
                <c:pt idx="28">
                  <c:v>44236</c:v>
                </c:pt>
                <c:pt idx="29">
                  <c:v>44237</c:v>
                </c:pt>
                <c:pt idx="30">
                  <c:v>44238</c:v>
                </c:pt>
                <c:pt idx="31">
                  <c:v>44239</c:v>
                </c:pt>
                <c:pt idx="32">
                  <c:v>44240</c:v>
                </c:pt>
                <c:pt idx="33">
                  <c:v>44241</c:v>
                </c:pt>
                <c:pt idx="34">
                  <c:v>44242</c:v>
                </c:pt>
                <c:pt idx="35">
                  <c:v>44243</c:v>
                </c:pt>
                <c:pt idx="36">
                  <c:v>44244</c:v>
                </c:pt>
                <c:pt idx="37">
                  <c:v>44245</c:v>
                </c:pt>
                <c:pt idx="38">
                  <c:v>44246</c:v>
                </c:pt>
                <c:pt idx="39">
                  <c:v>44247</c:v>
                </c:pt>
                <c:pt idx="40">
                  <c:v>44248</c:v>
                </c:pt>
                <c:pt idx="41">
                  <c:v>44249</c:v>
                </c:pt>
                <c:pt idx="42">
                  <c:v>44250</c:v>
                </c:pt>
                <c:pt idx="43">
                  <c:v>44251</c:v>
                </c:pt>
                <c:pt idx="44">
                  <c:v>44252</c:v>
                </c:pt>
                <c:pt idx="45">
                  <c:v>44253</c:v>
                </c:pt>
                <c:pt idx="46">
                  <c:v>44254</c:v>
                </c:pt>
                <c:pt idx="47">
                  <c:v>44255</c:v>
                </c:pt>
                <c:pt idx="48">
                  <c:v>44256</c:v>
                </c:pt>
                <c:pt idx="49">
                  <c:v>44257</c:v>
                </c:pt>
                <c:pt idx="50">
                  <c:v>44258</c:v>
                </c:pt>
                <c:pt idx="51">
                  <c:v>44259</c:v>
                </c:pt>
                <c:pt idx="52">
                  <c:v>44260</c:v>
                </c:pt>
                <c:pt idx="53">
                  <c:v>44261</c:v>
                </c:pt>
                <c:pt idx="54">
                  <c:v>44262</c:v>
                </c:pt>
                <c:pt idx="55">
                  <c:v>44263</c:v>
                </c:pt>
                <c:pt idx="56">
                  <c:v>44264</c:v>
                </c:pt>
                <c:pt idx="57">
                  <c:v>44265</c:v>
                </c:pt>
                <c:pt idx="58">
                  <c:v>44266</c:v>
                </c:pt>
                <c:pt idx="59">
                  <c:v>44267</c:v>
                </c:pt>
                <c:pt idx="60">
                  <c:v>44268</c:v>
                </c:pt>
                <c:pt idx="61">
                  <c:v>44269</c:v>
                </c:pt>
                <c:pt idx="62">
                  <c:v>44270</c:v>
                </c:pt>
                <c:pt idx="63">
                  <c:v>44271</c:v>
                </c:pt>
                <c:pt idx="64">
                  <c:v>44272</c:v>
                </c:pt>
                <c:pt idx="65">
                  <c:v>44273</c:v>
                </c:pt>
                <c:pt idx="66">
                  <c:v>44274</c:v>
                </c:pt>
                <c:pt idx="67">
                  <c:v>44275</c:v>
                </c:pt>
                <c:pt idx="68">
                  <c:v>44276</c:v>
                </c:pt>
                <c:pt idx="69">
                  <c:v>44277</c:v>
                </c:pt>
                <c:pt idx="70">
                  <c:v>44278</c:v>
                </c:pt>
                <c:pt idx="71">
                  <c:v>44279</c:v>
                </c:pt>
                <c:pt idx="72">
                  <c:v>44280</c:v>
                </c:pt>
                <c:pt idx="73">
                  <c:v>44281</c:v>
                </c:pt>
                <c:pt idx="74">
                  <c:v>44282</c:v>
                </c:pt>
                <c:pt idx="75">
                  <c:v>44283</c:v>
                </c:pt>
                <c:pt idx="76">
                  <c:v>44284</c:v>
                </c:pt>
                <c:pt idx="77">
                  <c:v>44285</c:v>
                </c:pt>
                <c:pt idx="78">
                  <c:v>44286</c:v>
                </c:pt>
                <c:pt idx="79">
                  <c:v>44287</c:v>
                </c:pt>
                <c:pt idx="80">
                  <c:v>44288</c:v>
                </c:pt>
                <c:pt idx="81">
                  <c:v>44289</c:v>
                </c:pt>
                <c:pt idx="82">
                  <c:v>44290</c:v>
                </c:pt>
                <c:pt idx="83">
                  <c:v>44291</c:v>
                </c:pt>
                <c:pt idx="84">
                  <c:v>44292</c:v>
                </c:pt>
                <c:pt idx="85">
                  <c:v>44293</c:v>
                </c:pt>
                <c:pt idx="86">
                  <c:v>44294</c:v>
                </c:pt>
                <c:pt idx="87">
                  <c:v>44295</c:v>
                </c:pt>
                <c:pt idx="88">
                  <c:v>44296</c:v>
                </c:pt>
                <c:pt idx="89">
                  <c:v>44297</c:v>
                </c:pt>
                <c:pt idx="90">
                  <c:v>44298</c:v>
                </c:pt>
                <c:pt idx="91">
                  <c:v>44299</c:v>
                </c:pt>
                <c:pt idx="92">
                  <c:v>44300</c:v>
                </c:pt>
                <c:pt idx="93">
                  <c:v>44301</c:v>
                </c:pt>
                <c:pt idx="94">
                  <c:v>44302</c:v>
                </c:pt>
                <c:pt idx="95">
                  <c:v>44303</c:v>
                </c:pt>
                <c:pt idx="96">
                  <c:v>44304</c:v>
                </c:pt>
                <c:pt idx="97">
                  <c:v>44305</c:v>
                </c:pt>
                <c:pt idx="98">
                  <c:v>44306</c:v>
                </c:pt>
                <c:pt idx="99">
                  <c:v>44307</c:v>
                </c:pt>
                <c:pt idx="100">
                  <c:v>44308</c:v>
                </c:pt>
                <c:pt idx="101">
                  <c:v>44309</c:v>
                </c:pt>
                <c:pt idx="102">
                  <c:v>44310</c:v>
                </c:pt>
                <c:pt idx="103">
                  <c:v>44311</c:v>
                </c:pt>
                <c:pt idx="104">
                  <c:v>44312</c:v>
                </c:pt>
                <c:pt idx="105">
                  <c:v>44313</c:v>
                </c:pt>
                <c:pt idx="106">
                  <c:v>44314</c:v>
                </c:pt>
                <c:pt idx="107">
                  <c:v>44315</c:v>
                </c:pt>
                <c:pt idx="108">
                  <c:v>44316</c:v>
                </c:pt>
                <c:pt idx="109">
                  <c:v>44317</c:v>
                </c:pt>
                <c:pt idx="110">
                  <c:v>44318</c:v>
                </c:pt>
                <c:pt idx="111">
                  <c:v>44319</c:v>
                </c:pt>
                <c:pt idx="112">
                  <c:v>44320</c:v>
                </c:pt>
                <c:pt idx="113">
                  <c:v>44321</c:v>
                </c:pt>
                <c:pt idx="114">
                  <c:v>44322</c:v>
                </c:pt>
                <c:pt idx="115">
                  <c:v>44323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0811</c:v>
                </c:pt>
                <c:pt idx="1">
                  <c:v>10920</c:v>
                </c:pt>
                <c:pt idx="2">
                  <c:v>8088</c:v>
                </c:pt>
                <c:pt idx="3">
                  <c:v>9301</c:v>
                </c:pt>
                <c:pt idx="4">
                  <c:v>5242</c:v>
                </c:pt>
                <c:pt idx="5">
                  <c:v>2641</c:v>
                </c:pt>
                <c:pt idx="6">
                  <c:v>7668</c:v>
                </c:pt>
                <c:pt idx="7">
                  <c:v>9610</c:v>
                </c:pt>
                <c:pt idx="8">
                  <c:v>8215</c:v>
                </c:pt>
                <c:pt idx="9">
                  <c:v>7534</c:v>
                </c:pt>
                <c:pt idx="10">
                  <c:v>8468</c:v>
                </c:pt>
                <c:pt idx="11">
                  <c:v>4239</c:v>
                </c:pt>
                <c:pt idx="12">
                  <c:v>2394</c:v>
                </c:pt>
                <c:pt idx="13">
                  <c:v>6974</c:v>
                </c:pt>
                <c:pt idx="14">
                  <c:v>9195</c:v>
                </c:pt>
                <c:pt idx="15">
                  <c:v>8504</c:v>
                </c:pt>
                <c:pt idx="16">
                  <c:v>8010</c:v>
                </c:pt>
                <c:pt idx="17">
                  <c:v>8053</c:v>
                </c:pt>
                <c:pt idx="18">
                  <c:v>4055</c:v>
                </c:pt>
                <c:pt idx="19">
                  <c:v>2573</c:v>
                </c:pt>
                <c:pt idx="20">
                  <c:v>7217</c:v>
                </c:pt>
                <c:pt idx="21">
                  <c:v>9148</c:v>
                </c:pt>
                <c:pt idx="22">
                  <c:v>9667</c:v>
                </c:pt>
                <c:pt idx="23">
                  <c:v>8107</c:v>
                </c:pt>
                <c:pt idx="24">
                  <c:v>8622</c:v>
                </c:pt>
                <c:pt idx="25">
                  <c:v>4820</c:v>
                </c:pt>
                <c:pt idx="26">
                  <c:v>2451</c:v>
                </c:pt>
                <c:pt idx="27">
                  <c:v>7777</c:v>
                </c:pt>
                <c:pt idx="28">
                  <c:v>10283</c:v>
                </c:pt>
                <c:pt idx="29">
                  <c:v>9538</c:v>
                </c:pt>
                <c:pt idx="30">
                  <c:v>9018</c:v>
                </c:pt>
                <c:pt idx="31">
                  <c:v>8830</c:v>
                </c:pt>
                <c:pt idx="32">
                  <c:v>5141</c:v>
                </c:pt>
                <c:pt idx="33">
                  <c:v>2880</c:v>
                </c:pt>
                <c:pt idx="34">
                  <c:v>8905</c:v>
                </c:pt>
                <c:pt idx="35">
                  <c:v>12608</c:v>
                </c:pt>
                <c:pt idx="36">
                  <c:v>10939</c:v>
                </c:pt>
                <c:pt idx="37">
                  <c:v>11704</c:v>
                </c:pt>
                <c:pt idx="38">
                  <c:v>11288</c:v>
                </c:pt>
                <c:pt idx="39">
                  <c:v>6775</c:v>
                </c:pt>
                <c:pt idx="40">
                  <c:v>4068</c:v>
                </c:pt>
                <c:pt idx="41">
                  <c:v>11410</c:v>
                </c:pt>
                <c:pt idx="42">
                  <c:v>15840</c:v>
                </c:pt>
                <c:pt idx="43">
                  <c:v>13796</c:v>
                </c:pt>
                <c:pt idx="44">
                  <c:v>14588</c:v>
                </c:pt>
                <c:pt idx="45">
                  <c:v>14775</c:v>
                </c:pt>
                <c:pt idx="46">
                  <c:v>7824</c:v>
                </c:pt>
                <c:pt idx="47">
                  <c:v>4587</c:v>
                </c:pt>
                <c:pt idx="48">
                  <c:v>12325</c:v>
                </c:pt>
                <c:pt idx="49">
                  <c:v>16778</c:v>
                </c:pt>
                <c:pt idx="50">
                  <c:v>15238</c:v>
                </c:pt>
                <c:pt idx="51">
                  <c:v>14648</c:v>
                </c:pt>
                <c:pt idx="52">
                  <c:v>13169</c:v>
                </c:pt>
                <c:pt idx="53">
                  <c:v>9130</c:v>
                </c:pt>
                <c:pt idx="54">
                  <c:v>3983</c:v>
                </c:pt>
                <c:pt idx="55">
                  <c:v>10653</c:v>
                </c:pt>
                <c:pt idx="56">
                  <c:v>15360</c:v>
                </c:pt>
                <c:pt idx="57">
                  <c:v>14535</c:v>
                </c:pt>
                <c:pt idx="58">
                  <c:v>11245</c:v>
                </c:pt>
                <c:pt idx="59">
                  <c:v>14961</c:v>
                </c:pt>
                <c:pt idx="60">
                  <c:v>6956</c:v>
                </c:pt>
                <c:pt idx="61">
                  <c:v>3332</c:v>
                </c:pt>
                <c:pt idx="62">
                  <c:v>10630</c:v>
                </c:pt>
                <c:pt idx="63">
                  <c:v>14028</c:v>
                </c:pt>
                <c:pt idx="64">
                  <c:v>12029</c:v>
                </c:pt>
                <c:pt idx="65">
                  <c:v>10660</c:v>
                </c:pt>
                <c:pt idx="66">
                  <c:v>9710</c:v>
                </c:pt>
                <c:pt idx="67">
                  <c:v>5465</c:v>
                </c:pt>
                <c:pt idx="68">
                  <c:v>2390</c:v>
                </c:pt>
                <c:pt idx="69">
                  <c:v>8240</c:v>
                </c:pt>
                <c:pt idx="70">
                  <c:v>10968</c:v>
                </c:pt>
                <c:pt idx="71">
                  <c:v>8847</c:v>
                </c:pt>
                <c:pt idx="72">
                  <c:v>7926</c:v>
                </c:pt>
                <c:pt idx="73">
                  <c:v>7712</c:v>
                </c:pt>
                <c:pt idx="74">
                  <c:v>3969</c:v>
                </c:pt>
                <c:pt idx="75">
                  <c:v>1744</c:v>
                </c:pt>
                <c:pt idx="76">
                  <c:v>6935</c:v>
                </c:pt>
                <c:pt idx="77">
                  <c:v>8630</c:v>
                </c:pt>
                <c:pt idx="78">
                  <c:v>7262</c:v>
                </c:pt>
                <c:pt idx="79">
                  <c:v>6245</c:v>
                </c:pt>
                <c:pt idx="80">
                  <c:v>3837</c:v>
                </c:pt>
                <c:pt idx="81">
                  <c:v>2160</c:v>
                </c:pt>
                <c:pt idx="82">
                  <c:v>1925</c:v>
                </c:pt>
                <c:pt idx="83">
                  <c:v>1419</c:v>
                </c:pt>
                <c:pt idx="84">
                  <c:v>5582</c:v>
                </c:pt>
                <c:pt idx="85">
                  <c:v>7051</c:v>
                </c:pt>
                <c:pt idx="86">
                  <c:v>5282</c:v>
                </c:pt>
                <c:pt idx="87">
                  <c:v>4818</c:v>
                </c:pt>
                <c:pt idx="88">
                  <c:v>2204</c:v>
                </c:pt>
                <c:pt idx="89">
                  <c:v>985</c:v>
                </c:pt>
                <c:pt idx="90">
                  <c:v>3868</c:v>
                </c:pt>
                <c:pt idx="91">
                  <c:v>5056</c:v>
                </c:pt>
                <c:pt idx="92">
                  <c:v>3715</c:v>
                </c:pt>
                <c:pt idx="93">
                  <c:v>3263</c:v>
                </c:pt>
                <c:pt idx="94">
                  <c:v>3215</c:v>
                </c:pt>
                <c:pt idx="95">
                  <c:v>1541</c:v>
                </c:pt>
                <c:pt idx="96">
                  <c:v>833</c:v>
                </c:pt>
                <c:pt idx="97">
                  <c:v>3341</c:v>
                </c:pt>
                <c:pt idx="98">
                  <c:v>3815</c:v>
                </c:pt>
                <c:pt idx="99">
                  <c:v>2951</c:v>
                </c:pt>
                <c:pt idx="100">
                  <c:v>2628</c:v>
                </c:pt>
                <c:pt idx="101">
                  <c:v>2601</c:v>
                </c:pt>
                <c:pt idx="102">
                  <c:v>1306</c:v>
                </c:pt>
                <c:pt idx="103">
                  <c:v>825</c:v>
                </c:pt>
                <c:pt idx="104">
                  <c:v>2579</c:v>
                </c:pt>
                <c:pt idx="105">
                  <c:v>3238</c:v>
                </c:pt>
                <c:pt idx="106">
                  <c:v>2487</c:v>
                </c:pt>
                <c:pt idx="107">
                  <c:v>2228</c:v>
                </c:pt>
                <c:pt idx="108">
                  <c:v>2167</c:v>
                </c:pt>
                <c:pt idx="109">
                  <c:v>1171</c:v>
                </c:pt>
                <c:pt idx="110">
                  <c:v>508</c:v>
                </c:pt>
                <c:pt idx="111">
                  <c:v>2218</c:v>
                </c:pt>
                <c:pt idx="112">
                  <c:v>2419</c:v>
                </c:pt>
                <c:pt idx="113">
                  <c:v>1869</c:v>
                </c:pt>
                <c:pt idx="114">
                  <c:v>1572</c:v>
                </c:pt>
                <c:pt idx="115">
                  <c:v>1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3</c:v>
                </c:pt>
                <c:pt idx="22">
                  <c:v>2109</c:v>
                </c:pt>
                <c:pt idx="23">
                  <c:v>1925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8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19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49</c:v>
                </c:pt>
                <c:pt idx="94">
                  <c:v>222</c:v>
                </c:pt>
                <c:pt idx="95">
                  <c:v>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2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9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9</c:v>
                </c:pt>
                <c:pt idx="25">
                  <c:v>811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3</c:v>
                </c:pt>
                <c:pt idx="31">
                  <c:v>747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7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73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3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8</c:v>
                </c:pt>
                <c:pt idx="58">
                  <c:v>430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9</c:v>
                </c:pt>
                <c:pt idx="64">
                  <c:v>305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90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6</c:v>
                </c:pt>
                <c:pt idx="86">
                  <c:v>108</c:v>
                </c:pt>
                <c:pt idx="87">
                  <c:v>91</c:v>
                </c:pt>
                <c:pt idx="88">
                  <c:v>101</c:v>
                </c:pt>
                <c:pt idx="89">
                  <c:v>65</c:v>
                </c:pt>
                <c:pt idx="90">
                  <c:v>38</c:v>
                </c:pt>
                <c:pt idx="91">
                  <c:v>89</c:v>
                </c:pt>
                <c:pt idx="92">
                  <c:v>94</c:v>
                </c:pt>
                <c:pt idx="93">
                  <c:v>82</c:v>
                </c:pt>
                <c:pt idx="94">
                  <c:v>79</c:v>
                </c:pt>
                <c:pt idx="95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436741088915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7955039883973898E-2</c:v>
                </c:pt>
                <c:pt idx="1">
                  <c:v>7.7062010836845274E-2</c:v>
                </c:pt>
                <c:pt idx="2">
                  <c:v>9.1034008931638613E-2</c:v>
                </c:pt>
                <c:pt idx="3">
                  <c:v>7.7323717948717952E-2</c:v>
                </c:pt>
                <c:pt idx="4">
                  <c:v>0.13066666666666665</c:v>
                </c:pt>
                <c:pt idx="5">
                  <c:v>6.7632850241545889E-2</c:v>
                </c:pt>
                <c:pt idx="6">
                  <c:v>9.5715199317842684E-2</c:v>
                </c:pt>
                <c:pt idx="7">
                  <c:v>9.8394495412844035E-2</c:v>
                </c:pt>
                <c:pt idx="8">
                  <c:v>0.11458948611931483</c:v>
                </c:pt>
                <c:pt idx="9">
                  <c:v>8.6679799969692384E-2</c:v>
                </c:pt>
                <c:pt idx="10">
                  <c:v>0.15558941154065892</c:v>
                </c:pt>
                <c:pt idx="11">
                  <c:v>0.16832669322709162</c:v>
                </c:pt>
                <c:pt idx="12">
                  <c:v>7.4422775162519619E-2</c:v>
                </c:pt>
                <c:pt idx="13">
                  <c:v>8.832173240525909E-2</c:v>
                </c:pt>
                <c:pt idx="14">
                  <c:v>0.12486486486486487</c:v>
                </c:pt>
                <c:pt idx="15">
                  <c:v>0.18121585493432524</c:v>
                </c:pt>
                <c:pt idx="16">
                  <c:v>0.14154460719041279</c:v>
                </c:pt>
                <c:pt idx="17">
                  <c:v>0.147921967769296</c:v>
                </c:pt>
                <c:pt idx="18">
                  <c:v>0.11505723510419724</c:v>
                </c:pt>
                <c:pt idx="19">
                  <c:v>9.368635437881874E-2</c:v>
                </c:pt>
                <c:pt idx="20">
                  <c:v>0.13848186404035551</c:v>
                </c:pt>
                <c:pt idx="21">
                  <c:v>0.13659851718714897</c:v>
                </c:pt>
                <c:pt idx="22">
                  <c:v>0.15403553842860201</c:v>
                </c:pt>
                <c:pt idx="23">
                  <c:v>0.1710623095513292</c:v>
                </c:pt>
                <c:pt idx="24">
                  <c:v>0.15950735956743767</c:v>
                </c:pt>
                <c:pt idx="25">
                  <c:v>0.15153631284916202</c:v>
                </c:pt>
                <c:pt idx="26">
                  <c:v>0.14403401541323413</c:v>
                </c:pt>
                <c:pt idx="27">
                  <c:v>0.1459977452085682</c:v>
                </c:pt>
                <c:pt idx="28">
                  <c:v>0.17738523376348636</c:v>
                </c:pt>
                <c:pt idx="29">
                  <c:v>0.20669847142439879</c:v>
                </c:pt>
                <c:pt idx="30">
                  <c:v>0.211072994091862</c:v>
                </c:pt>
                <c:pt idx="31">
                  <c:v>0.2194193912063134</c:v>
                </c:pt>
                <c:pt idx="32">
                  <c:v>0.26156726397432467</c:v>
                </c:pt>
                <c:pt idx="33">
                  <c:v>0.24237887860642351</c:v>
                </c:pt>
                <c:pt idx="34">
                  <c:v>0.24219393828403993</c:v>
                </c:pt>
                <c:pt idx="35">
                  <c:v>0.27548068742555726</c:v>
                </c:pt>
                <c:pt idx="36">
                  <c:v>0.28409560830369696</c:v>
                </c:pt>
                <c:pt idx="37">
                  <c:v>0.39609000368867575</c:v>
                </c:pt>
                <c:pt idx="38">
                  <c:v>0.32710381333045263</c:v>
                </c:pt>
                <c:pt idx="39">
                  <c:v>0.34119175793577128</c:v>
                </c:pt>
                <c:pt idx="40">
                  <c:v>0.25928087788932991</c:v>
                </c:pt>
                <c:pt idx="41">
                  <c:v>0.32778852353320437</c:v>
                </c:pt>
                <c:pt idx="42">
                  <c:v>0.34819203721136277</c:v>
                </c:pt>
                <c:pt idx="43">
                  <c:v>0.35196546239491022</c:v>
                </c:pt>
                <c:pt idx="44">
                  <c:v>0.35661291918092791</c:v>
                </c:pt>
                <c:pt idx="45">
                  <c:v>0.36493066255778123</c:v>
                </c:pt>
                <c:pt idx="46">
                  <c:v>0.37077131258457374</c:v>
                </c:pt>
                <c:pt idx="47">
                  <c:v>0.34874982921164094</c:v>
                </c:pt>
                <c:pt idx="48">
                  <c:v>0.36387884267631104</c:v>
                </c:pt>
                <c:pt idx="49">
                  <c:v>0.40650272322165376</c:v>
                </c:pt>
                <c:pt idx="50">
                  <c:v>0.38786215801791624</c:v>
                </c:pt>
                <c:pt idx="51">
                  <c:v>0.40431407075396192</c:v>
                </c:pt>
                <c:pt idx="52">
                  <c:v>0.38455814767803215</c:v>
                </c:pt>
                <c:pt idx="53">
                  <c:v>0.41453065465881539</c:v>
                </c:pt>
                <c:pt idx="54">
                  <c:v>0.36255346797336074</c:v>
                </c:pt>
                <c:pt idx="55">
                  <c:v>0.3818340547815649</c:v>
                </c:pt>
                <c:pt idx="56">
                  <c:v>0.39468783256473927</c:v>
                </c:pt>
                <c:pt idx="57">
                  <c:v>0.37340219496449323</c:v>
                </c:pt>
                <c:pt idx="58">
                  <c:v>0.3447570142144824</c:v>
                </c:pt>
                <c:pt idx="59">
                  <c:v>0.38174456044492144</c:v>
                </c:pt>
                <c:pt idx="60">
                  <c:v>0.3862868620469278</c:v>
                </c:pt>
                <c:pt idx="61">
                  <c:v>0.37396851407502779</c:v>
                </c:pt>
                <c:pt idx="62">
                  <c:v>0.34580466555388184</c:v>
                </c:pt>
                <c:pt idx="63">
                  <c:v>0.41469847268146748</c:v>
                </c:pt>
                <c:pt idx="64">
                  <c:v>0.38117666501404729</c:v>
                </c:pt>
                <c:pt idx="65">
                  <c:v>0.34437384525257986</c:v>
                </c:pt>
                <c:pt idx="66">
                  <c:v>0.35766270118964311</c:v>
                </c:pt>
                <c:pt idx="67">
                  <c:v>0.32507739938080493</c:v>
                </c:pt>
                <c:pt idx="68">
                  <c:v>0.25514710878575797</c:v>
                </c:pt>
                <c:pt idx="69">
                  <c:v>0.30494617103392241</c:v>
                </c:pt>
                <c:pt idx="70">
                  <c:v>0.32965665478816675</c:v>
                </c:pt>
                <c:pt idx="71">
                  <c:v>0.32162368187015627</c:v>
                </c:pt>
                <c:pt idx="72">
                  <c:v>0.28607626228292443</c:v>
                </c:pt>
                <c:pt idx="73">
                  <c:v>0.32034163358594969</c:v>
                </c:pt>
                <c:pt idx="74">
                  <c:v>0.27764581683821588</c:v>
                </c:pt>
                <c:pt idx="75">
                  <c:v>0.25337428271235757</c:v>
                </c:pt>
                <c:pt idx="76">
                  <c:v>0.30524322405018345</c:v>
                </c:pt>
                <c:pt idx="77">
                  <c:v>0.27185095180234914</c:v>
                </c:pt>
                <c:pt idx="78">
                  <c:v>0.29926689409886043</c:v>
                </c:pt>
                <c:pt idx="79">
                  <c:v>0.27079069062239408</c:v>
                </c:pt>
                <c:pt idx="80">
                  <c:v>0.27517547629279471</c:v>
                </c:pt>
                <c:pt idx="81">
                  <c:v>0.26284875183553597</c:v>
                </c:pt>
                <c:pt idx="82">
                  <c:v>0.22717962418737198</c:v>
                </c:pt>
                <c:pt idx="83">
                  <c:v>0.29098101265822784</c:v>
                </c:pt>
                <c:pt idx="84">
                  <c:v>0.26758633290699801</c:v>
                </c:pt>
                <c:pt idx="85">
                  <c:v>0.26093985772795864</c:v>
                </c:pt>
                <c:pt idx="86">
                  <c:v>0.24140711621812316</c:v>
                </c:pt>
                <c:pt idx="87">
                  <c:v>0.26271670794437035</c:v>
                </c:pt>
                <c:pt idx="88">
                  <c:v>0.21252699784017279</c:v>
                </c:pt>
                <c:pt idx="89">
                  <c:v>0.19794400699912512</c:v>
                </c:pt>
                <c:pt idx="90">
                  <c:v>0.28670922809053978</c:v>
                </c:pt>
                <c:pt idx="91">
                  <c:v>0.24773046326626111</c:v>
                </c:pt>
                <c:pt idx="92">
                  <c:v>0.27579034941763725</c:v>
                </c:pt>
                <c:pt idx="93">
                  <c:v>0.2661229745680867</c:v>
                </c:pt>
                <c:pt idx="94">
                  <c:v>0.30882083256922793</c:v>
                </c:pt>
                <c:pt idx="95">
                  <c:v>0.19969570178775201</c:v>
                </c:pt>
                <c:pt idx="96">
                  <c:v>0.21666507588050013</c:v>
                </c:pt>
                <c:pt idx="97">
                  <c:v>0.28031118099809649</c:v>
                </c:pt>
                <c:pt idx="98">
                  <c:v>0.31435805292388108</c:v>
                </c:pt>
                <c:pt idx="99">
                  <c:v>0.28164934401090475</c:v>
                </c:pt>
                <c:pt idx="100">
                  <c:v>0.26889265885256014</c:v>
                </c:pt>
                <c:pt idx="101">
                  <c:v>0.30821181887950883</c:v>
                </c:pt>
                <c:pt idx="102">
                  <c:v>0.30334418467002072</c:v>
                </c:pt>
                <c:pt idx="103">
                  <c:v>0.23568760316219267</c:v>
                </c:pt>
                <c:pt idx="104">
                  <c:v>0.30717749095130781</c:v>
                </c:pt>
                <c:pt idx="105">
                  <c:v>0.31318575553416744</c:v>
                </c:pt>
                <c:pt idx="106">
                  <c:v>0.29633039589635668</c:v>
                </c:pt>
                <c:pt idx="107">
                  <c:v>0.31872280522139751</c:v>
                </c:pt>
                <c:pt idx="108">
                  <c:v>0.28600063297816225</c:v>
                </c:pt>
                <c:pt idx="109">
                  <c:v>0.35922107674684994</c:v>
                </c:pt>
                <c:pt idx="110">
                  <c:v>0.27685084868183457</c:v>
                </c:pt>
                <c:pt idx="111">
                  <c:v>0.32767792149616443</c:v>
                </c:pt>
                <c:pt idx="112">
                  <c:v>0.38707411310151035</c:v>
                </c:pt>
                <c:pt idx="113">
                  <c:v>0.41830985915492958</c:v>
                </c:pt>
                <c:pt idx="114">
                  <c:v>0.35238581270732328</c:v>
                </c:pt>
                <c:pt idx="115">
                  <c:v>0.35926660059464816</c:v>
                </c:pt>
                <c:pt idx="116">
                  <c:v>0.34719864176570459</c:v>
                </c:pt>
                <c:pt idx="117">
                  <c:v>0.40031562335612836</c:v>
                </c:pt>
                <c:pt idx="118">
                  <c:v>0.50276946936966882</c:v>
                </c:pt>
                <c:pt idx="119">
                  <c:v>0.4932320368091595</c:v>
                </c:pt>
                <c:pt idx="120">
                  <c:v>0.50209265406263526</c:v>
                </c:pt>
                <c:pt idx="121">
                  <c:v>0.48397976391231029</c:v>
                </c:pt>
                <c:pt idx="122">
                  <c:v>0.36102236421725242</c:v>
                </c:pt>
                <c:pt idx="123">
                  <c:v>0.4121846739647787</c:v>
                </c:pt>
                <c:pt idx="124">
                  <c:v>0.35494918870361014</c:v>
                </c:pt>
                <c:pt idx="125">
                  <c:v>0.41032669752392936</c:v>
                </c:pt>
                <c:pt idx="126">
                  <c:v>0.47645469458650969</c:v>
                </c:pt>
                <c:pt idx="127">
                  <c:v>0.40222244773695959</c:v>
                </c:pt>
                <c:pt idx="128">
                  <c:v>0.35719824243990694</c:v>
                </c:pt>
                <c:pt idx="129">
                  <c:v>0.44209618287686003</c:v>
                </c:pt>
                <c:pt idx="130">
                  <c:v>0.3520460621015834</c:v>
                </c:pt>
                <c:pt idx="131">
                  <c:v>0.27471003530005045</c:v>
                </c:pt>
                <c:pt idx="132">
                  <c:v>0.30390241013797598</c:v>
                </c:pt>
                <c:pt idx="133">
                  <c:v>0.34164556962025316</c:v>
                </c:pt>
                <c:pt idx="134">
                  <c:v>0.27736643437862951</c:v>
                </c:pt>
                <c:pt idx="135">
                  <c:v>0.30819100731962357</c:v>
                </c:pt>
                <c:pt idx="136">
                  <c:v>0.31222770839384256</c:v>
                </c:pt>
                <c:pt idx="137">
                  <c:v>0.29988052568697732</c:v>
                </c:pt>
                <c:pt idx="138">
                  <c:v>0.26568821896072986</c:v>
                </c:pt>
                <c:pt idx="139">
                  <c:v>0.33048841712687371</c:v>
                </c:pt>
                <c:pt idx="140">
                  <c:v>0.30645161290322581</c:v>
                </c:pt>
                <c:pt idx="141">
                  <c:v>0.32277634044071729</c:v>
                </c:pt>
                <c:pt idx="142">
                  <c:v>0.28385454545454547</c:v>
                </c:pt>
                <c:pt idx="143">
                  <c:v>0.30305617210175856</c:v>
                </c:pt>
                <c:pt idx="144">
                  <c:v>0.27299412915851273</c:v>
                </c:pt>
                <c:pt idx="145">
                  <c:v>0.23750929061028986</c:v>
                </c:pt>
                <c:pt idx="146">
                  <c:v>0.31056946274337577</c:v>
                </c:pt>
                <c:pt idx="147">
                  <c:v>0.29716534285506085</c:v>
                </c:pt>
                <c:pt idx="148">
                  <c:v>0.30734620418848169</c:v>
                </c:pt>
                <c:pt idx="149">
                  <c:v>0.26893967227569993</c:v>
                </c:pt>
                <c:pt idx="150">
                  <c:v>0.28140265177948359</c:v>
                </c:pt>
                <c:pt idx="151">
                  <c:v>0.31577110956036286</c:v>
                </c:pt>
                <c:pt idx="152">
                  <c:v>0.24979197869861874</c:v>
                </c:pt>
                <c:pt idx="153">
                  <c:v>0.30313287720561755</c:v>
                </c:pt>
                <c:pt idx="154">
                  <c:v>0.31325556733828208</c:v>
                </c:pt>
                <c:pt idx="155">
                  <c:v>0.28701786672801166</c:v>
                </c:pt>
                <c:pt idx="156">
                  <c:v>0.28149896724697548</c:v>
                </c:pt>
                <c:pt idx="157">
                  <c:v>0.3085520745131245</c:v>
                </c:pt>
                <c:pt idx="158">
                  <c:v>0.26328586314692604</c:v>
                </c:pt>
                <c:pt idx="159">
                  <c:v>0.27126394732028536</c:v>
                </c:pt>
                <c:pt idx="160">
                  <c:v>0.33559762971527679</c:v>
                </c:pt>
                <c:pt idx="161">
                  <c:v>0.32313771403483099</c:v>
                </c:pt>
                <c:pt idx="162">
                  <c:v>0.31386640441788333</c:v>
                </c:pt>
                <c:pt idx="163">
                  <c:v>0.28850028785261944</c:v>
                </c:pt>
                <c:pt idx="164">
                  <c:v>0.29423959721605214</c:v>
                </c:pt>
                <c:pt idx="165">
                  <c:v>0.27830508474576271</c:v>
                </c:pt>
                <c:pt idx="166">
                  <c:v>0.27160194174757279</c:v>
                </c:pt>
                <c:pt idx="167">
                  <c:v>0.36413907074302421</c:v>
                </c:pt>
                <c:pt idx="168">
                  <c:v>0.33458344495044201</c:v>
                </c:pt>
                <c:pt idx="169">
                  <c:v>0.33703399987384092</c:v>
                </c:pt>
                <c:pt idx="170">
                  <c:v>0.30344181690470617</c:v>
                </c:pt>
                <c:pt idx="171">
                  <c:v>0.34960350013672409</c:v>
                </c:pt>
                <c:pt idx="172">
                  <c:v>0.37122969837587005</c:v>
                </c:pt>
                <c:pt idx="173">
                  <c:v>0.30592413885538133</c:v>
                </c:pt>
                <c:pt idx="174">
                  <c:v>0.3821752265861027</c:v>
                </c:pt>
                <c:pt idx="175">
                  <c:v>0.36405138549739885</c:v>
                </c:pt>
                <c:pt idx="176">
                  <c:v>0.36022433132010356</c:v>
                </c:pt>
                <c:pt idx="177">
                  <c:v>0.34010930078144952</c:v>
                </c:pt>
                <c:pt idx="178">
                  <c:v>0.32953476215368532</c:v>
                </c:pt>
                <c:pt idx="179">
                  <c:v>0.32600732600732601</c:v>
                </c:pt>
                <c:pt idx="180">
                  <c:v>0.31491097922848665</c:v>
                </c:pt>
                <c:pt idx="181">
                  <c:v>0.36875912408759126</c:v>
                </c:pt>
                <c:pt idx="182">
                  <c:v>0.36433271643018711</c:v>
                </c:pt>
                <c:pt idx="183">
                  <c:v>0.3662729933110368</c:v>
                </c:pt>
                <c:pt idx="184">
                  <c:v>0.29925762439807385</c:v>
                </c:pt>
                <c:pt idx="185">
                  <c:v>0.4164671000114038</c:v>
                </c:pt>
                <c:pt idx="186">
                  <c:v>0.31160425335182618</c:v>
                </c:pt>
                <c:pt idx="187">
                  <c:v>0.29688021911951368</c:v>
                </c:pt>
                <c:pt idx="188">
                  <c:v>0.36260922802916457</c:v>
                </c:pt>
                <c:pt idx="189">
                  <c:v>0.35444773500054844</c:v>
                </c:pt>
                <c:pt idx="190">
                  <c:v>0.31260848003967268</c:v>
                </c:pt>
                <c:pt idx="191">
                  <c:v>0.37686088653470867</c:v>
                </c:pt>
                <c:pt idx="192">
                  <c:v>0.33655857740585776</c:v>
                </c:pt>
                <c:pt idx="193">
                  <c:v>0.29466426858513189</c:v>
                </c:pt>
                <c:pt idx="194">
                  <c:v>0.2800081103000811</c:v>
                </c:pt>
                <c:pt idx="195">
                  <c:v>0.35512085574138647</c:v>
                </c:pt>
                <c:pt idx="196">
                  <c:v>0.34241019698725378</c:v>
                </c:pt>
                <c:pt idx="197">
                  <c:v>0.32523578165190054</c:v>
                </c:pt>
                <c:pt idx="198">
                  <c:v>0.28193333805109333</c:v>
                </c:pt>
                <c:pt idx="199">
                  <c:v>0.27781560670025873</c:v>
                </c:pt>
                <c:pt idx="200">
                  <c:v>0.24423963133640553</c:v>
                </c:pt>
                <c:pt idx="201">
                  <c:v>0.22969984202211691</c:v>
                </c:pt>
                <c:pt idx="202">
                  <c:v>0.30517533567983313</c:v>
                </c:pt>
                <c:pt idx="203">
                  <c:v>0.3026185204977479</c:v>
                </c:pt>
                <c:pt idx="204">
                  <c:v>0.24854115479115479</c:v>
                </c:pt>
                <c:pt idx="205">
                  <c:v>0.25814028835250286</c:v>
                </c:pt>
                <c:pt idx="206">
                  <c:v>0.27518091140230783</c:v>
                </c:pt>
                <c:pt idx="207">
                  <c:v>0.1190721649484536</c:v>
                </c:pt>
                <c:pt idx="208">
                  <c:v>0.20929507174048659</c:v>
                </c:pt>
                <c:pt idx="209">
                  <c:v>0.26158892128279881</c:v>
                </c:pt>
                <c:pt idx="210">
                  <c:v>0.25103481860238619</c:v>
                </c:pt>
                <c:pt idx="211">
                  <c:v>0.23911459282200764</c:v>
                </c:pt>
                <c:pt idx="212">
                  <c:v>0.25679323375922258</c:v>
                </c:pt>
                <c:pt idx="213">
                  <c:v>0.2234239802224969</c:v>
                </c:pt>
                <c:pt idx="214">
                  <c:v>0.18660855784469096</c:v>
                </c:pt>
                <c:pt idx="215">
                  <c:v>9.8655845802688311E-2</c:v>
                </c:pt>
                <c:pt idx="216">
                  <c:v>0.18023997957620627</c:v>
                </c:pt>
                <c:pt idx="217">
                  <c:v>0.24996110160261398</c:v>
                </c:pt>
                <c:pt idx="218">
                  <c:v>0.24018977957892657</c:v>
                </c:pt>
                <c:pt idx="219">
                  <c:v>0.20342550952062002</c:v>
                </c:pt>
                <c:pt idx="220">
                  <c:v>0.17401200082764329</c:v>
                </c:pt>
                <c:pt idx="221">
                  <c:v>0.12914639540026537</c:v>
                </c:pt>
                <c:pt idx="222">
                  <c:v>0.12251992538578939</c:v>
                </c:pt>
                <c:pt idx="223">
                  <c:v>0.1864054100919022</c:v>
                </c:pt>
                <c:pt idx="224">
                  <c:v>0.15006755452615325</c:v>
                </c:pt>
                <c:pt idx="225">
                  <c:v>0.16285282843535834</c:v>
                </c:pt>
                <c:pt idx="226">
                  <c:v>0.14838930774503084</c:v>
                </c:pt>
                <c:pt idx="227">
                  <c:v>0.13324708926261319</c:v>
                </c:pt>
                <c:pt idx="228">
                  <c:v>0.10729411764705882</c:v>
                </c:pt>
                <c:pt idx="229">
                  <c:v>0.11844240129799892</c:v>
                </c:pt>
                <c:pt idx="230">
                  <c:v>0.15264113095806667</c:v>
                </c:pt>
                <c:pt idx="231">
                  <c:v>0.13640889478924659</c:v>
                </c:pt>
                <c:pt idx="232">
                  <c:v>0.13764676492630526</c:v>
                </c:pt>
                <c:pt idx="233">
                  <c:v>0.12361623616236163</c:v>
                </c:pt>
                <c:pt idx="234">
                  <c:v>0.115612063867534</c:v>
                </c:pt>
                <c:pt idx="235">
                  <c:v>0.12702216896345117</c:v>
                </c:pt>
                <c:pt idx="236">
                  <c:v>9.8515134209023414E-2</c:v>
                </c:pt>
                <c:pt idx="237">
                  <c:v>0.14669444139896942</c:v>
                </c:pt>
                <c:pt idx="238">
                  <c:v>0.1101502985381923</c:v>
                </c:pt>
                <c:pt idx="239">
                  <c:v>0.10956920477856884</c:v>
                </c:pt>
                <c:pt idx="240">
                  <c:v>9.294339204608397E-2</c:v>
                </c:pt>
                <c:pt idx="241">
                  <c:v>0.11664447403462051</c:v>
                </c:pt>
                <c:pt idx="242">
                  <c:v>8.4931506849315067E-2</c:v>
                </c:pt>
                <c:pt idx="243">
                  <c:v>7.1428571428571425E-2</c:v>
                </c:pt>
                <c:pt idx="244">
                  <c:v>0.10946420729029424</c:v>
                </c:pt>
                <c:pt idx="245">
                  <c:v>8.4659090909090906E-2</c:v>
                </c:pt>
                <c:pt idx="246">
                  <c:v>8.5191082802547766E-2</c:v>
                </c:pt>
                <c:pt idx="247">
                  <c:v>8.417918527540939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7391304347826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431235431235435E-2</c:v>
                </c:pt>
                <c:pt idx="1">
                  <c:v>3.7089201877934269E-2</c:v>
                </c:pt>
                <c:pt idx="2">
                  <c:v>3.4287867370007538E-2</c:v>
                </c:pt>
                <c:pt idx="3">
                  <c:v>4.6353101567825496E-2</c:v>
                </c:pt>
                <c:pt idx="4">
                  <c:v>5.7692307692307696E-2</c:v>
                </c:pt>
                <c:pt idx="5">
                  <c:v>3.1670281995661603E-2</c:v>
                </c:pt>
                <c:pt idx="6">
                  <c:v>4.460739382829209E-2</c:v>
                </c:pt>
                <c:pt idx="7">
                  <c:v>5.5118110236220472E-2</c:v>
                </c:pt>
                <c:pt idx="8">
                  <c:v>6.3874900609594484E-2</c:v>
                </c:pt>
                <c:pt idx="9">
                  <c:v>5.5440055440055439E-2</c:v>
                </c:pt>
                <c:pt idx="10">
                  <c:v>8.7378640776699032E-2</c:v>
                </c:pt>
                <c:pt idx="11">
                  <c:v>8.0832823025107164E-2</c:v>
                </c:pt>
                <c:pt idx="12">
                  <c:v>4.1917670682730925E-2</c:v>
                </c:pt>
                <c:pt idx="13">
                  <c:v>6.3514902363823234E-2</c:v>
                </c:pt>
                <c:pt idx="14">
                  <c:v>8.5585585585585586E-2</c:v>
                </c:pt>
                <c:pt idx="15">
                  <c:v>0.10790730585529808</c:v>
                </c:pt>
                <c:pt idx="16">
                  <c:v>7.6116933259790409E-2</c:v>
                </c:pt>
                <c:pt idx="17">
                  <c:v>9.1004734350341926E-2</c:v>
                </c:pt>
                <c:pt idx="18">
                  <c:v>6.9705093833780166E-2</c:v>
                </c:pt>
                <c:pt idx="19">
                  <c:v>6.8368671570748593E-2</c:v>
                </c:pt>
                <c:pt idx="20">
                  <c:v>8.3548030916451965E-2</c:v>
                </c:pt>
                <c:pt idx="21">
                  <c:v>8.4599447513812154E-2</c:v>
                </c:pt>
                <c:pt idx="22">
                  <c:v>0.10769489247311828</c:v>
                </c:pt>
                <c:pt idx="23">
                  <c:v>0.10962072155411656</c:v>
                </c:pt>
                <c:pt idx="24">
                  <c:v>0.11639425458147598</c:v>
                </c:pt>
                <c:pt idx="25">
                  <c:v>0.10883856829802775</c:v>
                </c:pt>
                <c:pt idx="26">
                  <c:v>8.4154460719041285E-2</c:v>
                </c:pt>
                <c:pt idx="27">
                  <c:v>0.10128991330090928</c:v>
                </c:pt>
                <c:pt idx="28">
                  <c:v>0.12244504435017355</c:v>
                </c:pt>
                <c:pt idx="29">
                  <c:v>0.1312811980033278</c:v>
                </c:pt>
                <c:pt idx="30">
                  <c:v>0.1527001862197393</c:v>
                </c:pt>
                <c:pt idx="31">
                  <c:v>0.1533624931656643</c:v>
                </c:pt>
                <c:pt idx="32">
                  <c:v>0.20057971014492754</c:v>
                </c:pt>
                <c:pt idx="33">
                  <c:v>0.17349628564581834</c:v>
                </c:pt>
                <c:pt idx="34">
                  <c:v>0.16178571428571428</c:v>
                </c:pt>
                <c:pt idx="35">
                  <c:v>0.19339622641509435</c:v>
                </c:pt>
                <c:pt idx="36">
                  <c:v>0.18904475617902472</c:v>
                </c:pt>
                <c:pt idx="37">
                  <c:v>0.26277372262773724</c:v>
                </c:pt>
                <c:pt idx="38">
                  <c:v>0.22785114045618246</c:v>
                </c:pt>
                <c:pt idx="39">
                  <c:v>0.22249303621169916</c:v>
                </c:pt>
                <c:pt idx="40">
                  <c:v>0.17832097775996794</c:v>
                </c:pt>
                <c:pt idx="41">
                  <c:v>0.21196709050112192</c:v>
                </c:pt>
                <c:pt idx="42">
                  <c:v>0.22068693249111726</c:v>
                </c:pt>
                <c:pt idx="43">
                  <c:v>0.20938393553418247</c:v>
                </c:pt>
                <c:pt idx="44">
                  <c:v>0.23368114535306964</c:v>
                </c:pt>
                <c:pt idx="45">
                  <c:v>0.23078082604763339</c:v>
                </c:pt>
                <c:pt idx="46">
                  <c:v>0.23649405962788611</c:v>
                </c:pt>
                <c:pt idx="47">
                  <c:v>0.22353279631760645</c:v>
                </c:pt>
                <c:pt idx="48">
                  <c:v>0.23063043939715561</c:v>
                </c:pt>
                <c:pt idx="49">
                  <c:v>0.26353355580274379</c:v>
                </c:pt>
                <c:pt idx="50">
                  <c:v>0.25179603995093747</c:v>
                </c:pt>
                <c:pt idx="51">
                  <c:v>0.26893066146479871</c:v>
                </c:pt>
                <c:pt idx="52">
                  <c:v>0.25237002295180122</c:v>
                </c:pt>
                <c:pt idx="53">
                  <c:v>0.27600774511529658</c:v>
                </c:pt>
                <c:pt idx="54">
                  <c:v>0.25187210269820515</c:v>
                </c:pt>
                <c:pt idx="55">
                  <c:v>0.26657694033198742</c:v>
                </c:pt>
                <c:pt idx="56">
                  <c:v>0.24478124106376895</c:v>
                </c:pt>
                <c:pt idx="57">
                  <c:v>0.23394004282655245</c:v>
                </c:pt>
                <c:pt idx="58">
                  <c:v>0.2336891031158547</c:v>
                </c:pt>
                <c:pt idx="59">
                  <c:v>0.24772656005017246</c:v>
                </c:pt>
                <c:pt idx="60">
                  <c:v>0.27448650483788828</c:v>
                </c:pt>
                <c:pt idx="61">
                  <c:v>0.22029389409678238</c:v>
                </c:pt>
                <c:pt idx="62">
                  <c:v>0.2213826973932754</c:v>
                </c:pt>
                <c:pt idx="63">
                  <c:v>0.26770697876029476</c:v>
                </c:pt>
                <c:pt idx="64">
                  <c:v>0.23941101617887656</c:v>
                </c:pt>
                <c:pt idx="65">
                  <c:v>0.24686353985717044</c:v>
                </c:pt>
                <c:pt idx="66">
                  <c:v>0.26081632653061226</c:v>
                </c:pt>
                <c:pt idx="67">
                  <c:v>0.23172700023057413</c:v>
                </c:pt>
                <c:pt idx="68">
                  <c:v>0.18515958059684295</c:v>
                </c:pt>
                <c:pt idx="69">
                  <c:v>0.20015063076633402</c:v>
                </c:pt>
                <c:pt idx="70">
                  <c:v>0.20456532297231667</c:v>
                </c:pt>
                <c:pt idx="71">
                  <c:v>0.20794366817031576</c:v>
                </c:pt>
                <c:pt idx="72">
                  <c:v>0.20527728085867622</c:v>
                </c:pt>
                <c:pt idx="73">
                  <c:v>0.23633232888506242</c:v>
                </c:pt>
                <c:pt idx="74">
                  <c:v>0.21509433962264152</c:v>
                </c:pt>
                <c:pt idx="75">
                  <c:v>0.15785482123510292</c:v>
                </c:pt>
                <c:pt idx="76">
                  <c:v>0.22092801222073707</c:v>
                </c:pt>
                <c:pt idx="77">
                  <c:v>0.17892976588628762</c:v>
                </c:pt>
                <c:pt idx="78">
                  <c:v>0.20862253069941269</c:v>
                </c:pt>
                <c:pt idx="79">
                  <c:v>0.21173399285517999</c:v>
                </c:pt>
                <c:pt idx="80">
                  <c:v>0.20233812949640287</c:v>
                </c:pt>
                <c:pt idx="81">
                  <c:v>0.2121799844840962</c:v>
                </c:pt>
                <c:pt idx="82">
                  <c:v>0.13079679595278246</c:v>
                </c:pt>
                <c:pt idx="83">
                  <c:v>0.19578231292517007</c:v>
                </c:pt>
                <c:pt idx="84">
                  <c:v>0.18103326256192498</c:v>
                </c:pt>
                <c:pt idx="85">
                  <c:v>0.16399229781771502</c:v>
                </c:pt>
                <c:pt idx="86">
                  <c:v>0.17525637654483303</c:v>
                </c:pt>
                <c:pt idx="87">
                  <c:v>0.22101534828807556</c:v>
                </c:pt>
                <c:pt idx="88">
                  <c:v>0.19672131147540983</c:v>
                </c:pt>
                <c:pt idx="89">
                  <c:v>0.11117467581998475</c:v>
                </c:pt>
                <c:pt idx="90">
                  <c:v>0.18880019351717464</c:v>
                </c:pt>
                <c:pt idx="91">
                  <c:v>0.17654476670870115</c:v>
                </c:pt>
                <c:pt idx="92">
                  <c:v>0.19606494221243809</c:v>
                </c:pt>
                <c:pt idx="93">
                  <c:v>0.19792040157762639</c:v>
                </c:pt>
                <c:pt idx="94">
                  <c:v>0.26879659211927581</c:v>
                </c:pt>
                <c:pt idx="95">
                  <c:v>0.16351408154686844</c:v>
                </c:pt>
                <c:pt idx="96">
                  <c:v>0.12857934601884352</c:v>
                </c:pt>
                <c:pt idx="97">
                  <c:v>0.18703703703703703</c:v>
                </c:pt>
                <c:pt idx="98">
                  <c:v>0.19681502654144548</c:v>
                </c:pt>
                <c:pt idx="99">
                  <c:v>0.20308352052276904</c:v>
                </c:pt>
                <c:pt idx="100">
                  <c:v>0.18610488570147915</c:v>
                </c:pt>
                <c:pt idx="101">
                  <c:v>0.20874176442230435</c:v>
                </c:pt>
                <c:pt idx="102">
                  <c:v>0.21597265382224984</c:v>
                </c:pt>
                <c:pt idx="103">
                  <c:v>0.13711079500553186</c:v>
                </c:pt>
                <c:pt idx="104">
                  <c:v>0.19572303044757136</c:v>
                </c:pt>
                <c:pt idx="105">
                  <c:v>0.18201638974513196</c:v>
                </c:pt>
                <c:pt idx="106">
                  <c:v>0.17344000000000001</c:v>
                </c:pt>
                <c:pt idx="107">
                  <c:v>0.17780477926285945</c:v>
                </c:pt>
                <c:pt idx="108">
                  <c:v>0.17592795958708543</c:v>
                </c:pt>
                <c:pt idx="109">
                  <c:v>0.18652094717668488</c:v>
                </c:pt>
                <c:pt idx="110">
                  <c:v>0.14292392193525769</c:v>
                </c:pt>
                <c:pt idx="111">
                  <c:v>0.16762913907284768</c:v>
                </c:pt>
                <c:pt idx="112">
                  <c:v>0.18069318028964712</c:v>
                </c:pt>
                <c:pt idx="113">
                  <c:v>0.23415492957746478</c:v>
                </c:pt>
                <c:pt idx="114">
                  <c:v>0.21629042098840756</c:v>
                </c:pt>
                <c:pt idx="115">
                  <c:v>0.18574791354590198</c:v>
                </c:pt>
                <c:pt idx="116">
                  <c:v>0.19342560553633217</c:v>
                </c:pt>
                <c:pt idx="117">
                  <c:v>0.19952291702163913</c:v>
                </c:pt>
                <c:pt idx="118">
                  <c:v>0.26695923438904456</c:v>
                </c:pt>
                <c:pt idx="119">
                  <c:v>0.26786110494785886</c:v>
                </c:pt>
                <c:pt idx="120">
                  <c:v>0.29924626757501088</c:v>
                </c:pt>
                <c:pt idx="121">
                  <c:v>0.35353208036292938</c:v>
                </c:pt>
                <c:pt idx="122">
                  <c:v>0.20367423694488646</c:v>
                </c:pt>
                <c:pt idx="123">
                  <c:v>0.25747792858084068</c:v>
                </c:pt>
                <c:pt idx="124">
                  <c:v>0.19520952193586466</c:v>
                </c:pt>
                <c:pt idx="125">
                  <c:v>0.24658749322426451</c:v>
                </c:pt>
                <c:pt idx="126">
                  <c:v>0.28671288603678452</c:v>
                </c:pt>
                <c:pt idx="127">
                  <c:v>0.25930723739791606</c:v>
                </c:pt>
                <c:pt idx="128">
                  <c:v>0.22406683446687731</c:v>
                </c:pt>
                <c:pt idx="129">
                  <c:v>0.28135495633816332</c:v>
                </c:pt>
                <c:pt idx="130">
                  <c:v>0.23453170806974233</c:v>
                </c:pt>
                <c:pt idx="131">
                  <c:v>0.15465009873332369</c:v>
                </c:pt>
                <c:pt idx="132">
                  <c:v>0.20458443786059566</c:v>
                </c:pt>
                <c:pt idx="133">
                  <c:v>0.22620253919055849</c:v>
                </c:pt>
                <c:pt idx="134">
                  <c:v>0.17764521193092622</c:v>
                </c:pt>
                <c:pt idx="135">
                  <c:v>0.20754940243758135</c:v>
                </c:pt>
                <c:pt idx="136">
                  <c:v>0.23985280999107939</c:v>
                </c:pt>
                <c:pt idx="137">
                  <c:v>0.22295012679628065</c:v>
                </c:pt>
                <c:pt idx="138">
                  <c:v>0.15957040833015318</c:v>
                </c:pt>
                <c:pt idx="139">
                  <c:v>0.22096334819217434</c:v>
                </c:pt>
                <c:pt idx="140">
                  <c:v>0.20407073740407075</c:v>
                </c:pt>
                <c:pt idx="141">
                  <c:v>0.19565380855703438</c:v>
                </c:pt>
                <c:pt idx="142">
                  <c:v>0.19218816647370665</c:v>
                </c:pt>
                <c:pt idx="143">
                  <c:v>0.22284236319085216</c:v>
                </c:pt>
                <c:pt idx="144">
                  <c:v>0.20615964802011313</c:v>
                </c:pt>
                <c:pt idx="145">
                  <c:v>0.14826038159371493</c:v>
                </c:pt>
                <c:pt idx="146">
                  <c:v>0.22151739731189549</c:v>
                </c:pt>
                <c:pt idx="147">
                  <c:v>0.1840880236986881</c:v>
                </c:pt>
                <c:pt idx="148">
                  <c:v>0.21959195279732707</c:v>
                </c:pt>
                <c:pt idx="149">
                  <c:v>0.19042853779138216</c:v>
                </c:pt>
                <c:pt idx="150">
                  <c:v>0.20419563058589871</c:v>
                </c:pt>
                <c:pt idx="151">
                  <c:v>0.20351810186132133</c:v>
                </c:pt>
                <c:pt idx="152">
                  <c:v>0.14955887791219821</c:v>
                </c:pt>
                <c:pt idx="153">
                  <c:v>0.19951807228915663</c:v>
                </c:pt>
                <c:pt idx="154">
                  <c:v>0.216367054400188</c:v>
                </c:pt>
                <c:pt idx="155">
                  <c:v>0.19277342485268406</c:v>
                </c:pt>
                <c:pt idx="156">
                  <c:v>0.18895629003911787</c:v>
                </c:pt>
                <c:pt idx="157">
                  <c:v>0.23656905695181002</c:v>
                </c:pt>
                <c:pt idx="158">
                  <c:v>0.17826825127334464</c:v>
                </c:pt>
                <c:pt idx="159">
                  <c:v>0.16516259945533188</c:v>
                </c:pt>
                <c:pt idx="160">
                  <c:v>0.21626627444571553</c:v>
                </c:pt>
                <c:pt idx="161">
                  <c:v>0.20521210704686221</c:v>
                </c:pt>
                <c:pt idx="162">
                  <c:v>0.20514271344146862</c:v>
                </c:pt>
                <c:pt idx="163">
                  <c:v>0.1894930157493461</c:v>
                </c:pt>
                <c:pt idx="164">
                  <c:v>0.2168098292921605</c:v>
                </c:pt>
                <c:pt idx="165">
                  <c:v>0.19941241278002203</c:v>
                </c:pt>
                <c:pt idx="166">
                  <c:v>0.17350308715837839</c:v>
                </c:pt>
                <c:pt idx="167">
                  <c:v>0.23398523248852524</c:v>
                </c:pt>
                <c:pt idx="168">
                  <c:v>0.20205780466366785</c:v>
                </c:pt>
                <c:pt idx="169">
                  <c:v>0.21636587366694013</c:v>
                </c:pt>
                <c:pt idx="170">
                  <c:v>0.19176958483343207</c:v>
                </c:pt>
                <c:pt idx="171">
                  <c:v>0.24741050336180265</c:v>
                </c:pt>
                <c:pt idx="172">
                  <c:v>0.22635336109458656</c:v>
                </c:pt>
                <c:pt idx="173">
                  <c:v>0.179750346740638</c:v>
                </c:pt>
                <c:pt idx="174">
                  <c:v>0.24087142036596373</c:v>
                </c:pt>
                <c:pt idx="175">
                  <c:v>0.20344184117769024</c:v>
                </c:pt>
                <c:pt idx="176">
                  <c:v>0.22306674068064392</c:v>
                </c:pt>
                <c:pt idx="177">
                  <c:v>0.20496771382165352</c:v>
                </c:pt>
                <c:pt idx="178">
                  <c:v>0.21890925686468396</c:v>
                </c:pt>
                <c:pt idx="179">
                  <c:v>0.2133631395926478</c:v>
                </c:pt>
                <c:pt idx="180">
                  <c:v>0.17279684945757171</c:v>
                </c:pt>
                <c:pt idx="181">
                  <c:v>0.22251616696061141</c:v>
                </c:pt>
                <c:pt idx="182">
                  <c:v>0.21067074365910071</c:v>
                </c:pt>
                <c:pt idx="183">
                  <c:v>0.19267204258983794</c:v>
                </c:pt>
                <c:pt idx="184">
                  <c:v>0.16882323341240746</c:v>
                </c:pt>
                <c:pt idx="185">
                  <c:v>0.26371488600108939</c:v>
                </c:pt>
                <c:pt idx="186">
                  <c:v>0.17016376663254862</c:v>
                </c:pt>
                <c:pt idx="187">
                  <c:v>0.12735247456994431</c:v>
                </c:pt>
                <c:pt idx="188">
                  <c:v>0.17586529466791395</c:v>
                </c:pt>
                <c:pt idx="189">
                  <c:v>0.16256572029442692</c:v>
                </c:pt>
                <c:pt idx="190">
                  <c:v>0.12398468863784894</c:v>
                </c:pt>
                <c:pt idx="191">
                  <c:v>0.16606382638199801</c:v>
                </c:pt>
                <c:pt idx="192">
                  <c:v>0.21937321937321938</c:v>
                </c:pt>
                <c:pt idx="193">
                  <c:v>0.15599949102939306</c:v>
                </c:pt>
                <c:pt idx="194">
                  <c:v>0.11921150601280231</c:v>
                </c:pt>
                <c:pt idx="195">
                  <c:v>0.15593348231128654</c:v>
                </c:pt>
                <c:pt idx="196">
                  <c:v>0.1382436086529007</c:v>
                </c:pt>
                <c:pt idx="197">
                  <c:v>0.13178853528235718</c:v>
                </c:pt>
                <c:pt idx="198">
                  <c:v>0.13350737213663272</c:v>
                </c:pt>
                <c:pt idx="199">
                  <c:v>0.20591233435270132</c:v>
                </c:pt>
                <c:pt idx="200">
                  <c:v>0.12601419878296147</c:v>
                </c:pt>
                <c:pt idx="201">
                  <c:v>9.6050460424761799E-2</c:v>
                </c:pt>
                <c:pt idx="202">
                  <c:v>0.13067308528840299</c:v>
                </c:pt>
                <c:pt idx="203">
                  <c:v>0.10786658693774501</c:v>
                </c:pt>
                <c:pt idx="204">
                  <c:v>0.10213098596336199</c:v>
                </c:pt>
                <c:pt idx="205">
                  <c:v>0.11961853930379499</c:v>
                </c:pt>
                <c:pt idx="206">
                  <c:v>0.18597160920911368</c:v>
                </c:pt>
                <c:pt idx="207">
                  <c:v>0.12631397552989831</c:v>
                </c:pt>
                <c:pt idx="208">
                  <c:v>8.2321041214750548E-2</c:v>
                </c:pt>
                <c:pt idx="209">
                  <c:v>0.10832547910775997</c:v>
                </c:pt>
                <c:pt idx="210">
                  <c:v>9.2439219877103934E-2</c:v>
                </c:pt>
                <c:pt idx="211">
                  <c:v>7.5220017785409835E-2</c:v>
                </c:pt>
                <c:pt idx="212">
                  <c:v>0.14754595031306808</c:v>
                </c:pt>
                <c:pt idx="213">
                  <c:v>0.15695921282336137</c:v>
                </c:pt>
                <c:pt idx="214">
                  <c:v>0.14483120517754067</c:v>
                </c:pt>
                <c:pt idx="215">
                  <c:v>9.0412173142266211E-2</c:v>
                </c:pt>
                <c:pt idx="216">
                  <c:v>5.290891029240271E-2</c:v>
                </c:pt>
                <c:pt idx="217">
                  <c:v>7.8352736958668776E-2</c:v>
                </c:pt>
                <c:pt idx="218">
                  <c:v>6.7497251740564312E-2</c:v>
                </c:pt>
                <c:pt idx="219">
                  <c:v>8.2265646603373585E-2</c:v>
                </c:pt>
                <c:pt idx="220">
                  <c:v>0.12372320529420228</c:v>
                </c:pt>
                <c:pt idx="221">
                  <c:v>6.6751632945674683E-2</c:v>
                </c:pt>
                <c:pt idx="222">
                  <c:v>4.9325833168442773E-2</c:v>
                </c:pt>
                <c:pt idx="223">
                  <c:v>6.5987599645704165E-2</c:v>
                </c:pt>
                <c:pt idx="224">
                  <c:v>5.3873983594225738E-2</c:v>
                </c:pt>
                <c:pt idx="225">
                  <c:v>4.7837807054178214E-2</c:v>
                </c:pt>
                <c:pt idx="226">
                  <c:v>6.91316697098803E-2</c:v>
                </c:pt>
                <c:pt idx="227">
                  <c:v>0.10033908754623921</c:v>
                </c:pt>
                <c:pt idx="228">
                  <c:v>5.6786085922402259E-2</c:v>
                </c:pt>
                <c:pt idx="229">
                  <c:v>4.2241304536386505E-2</c:v>
                </c:pt>
                <c:pt idx="230">
                  <c:v>4.8573244572307897E-2</c:v>
                </c:pt>
                <c:pt idx="231">
                  <c:v>4.420340997734111E-2</c:v>
                </c:pt>
                <c:pt idx="232">
                  <c:v>3.8800179077749589E-2</c:v>
                </c:pt>
                <c:pt idx="233">
                  <c:v>5.714575720665855E-2</c:v>
                </c:pt>
                <c:pt idx="234">
                  <c:v>8.7091527428655918E-2</c:v>
                </c:pt>
                <c:pt idx="235">
                  <c:v>6.4546899841017483E-2</c:v>
                </c:pt>
                <c:pt idx="236">
                  <c:v>3.2712602683661239E-2</c:v>
                </c:pt>
                <c:pt idx="237">
                  <c:v>4.2898707625685095E-2</c:v>
                </c:pt>
                <c:pt idx="238">
                  <c:v>3.8067405495673293E-2</c:v>
                </c:pt>
                <c:pt idx="239">
                  <c:v>3.3526995522332827E-2</c:v>
                </c:pt>
                <c:pt idx="240">
                  <c:v>4.8031653811479516E-2</c:v>
                </c:pt>
                <c:pt idx="241">
                  <c:v>9.9484810801208023E-2</c:v>
                </c:pt>
                <c:pt idx="242">
                  <c:v>3.3666347338168881E-2</c:v>
                </c:pt>
                <c:pt idx="243">
                  <c:v>2.6650599708552852E-2</c:v>
                </c:pt>
                <c:pt idx="244">
                  <c:v>3.6058027618914773E-2</c:v>
                </c:pt>
                <c:pt idx="245">
                  <c:v>3.293030165476829E-2</c:v>
                </c:pt>
                <c:pt idx="246">
                  <c:v>2.8530608710710885E-2</c:v>
                </c:pt>
                <c:pt idx="247">
                  <c:v>4.555541856737763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9</c:v>
                </c:pt>
                <c:pt idx="1">
                  <c:v>6372</c:v>
                </c:pt>
                <c:pt idx="2">
                  <c:v>6222</c:v>
                </c:pt>
                <c:pt idx="3">
                  <c:v>6319</c:v>
                </c:pt>
                <c:pt idx="4">
                  <c:v>6386</c:v>
                </c:pt>
                <c:pt idx="5">
                  <c:v>7061</c:v>
                </c:pt>
                <c:pt idx="6">
                  <c:v>6706</c:v>
                </c:pt>
                <c:pt idx="7">
                  <c:v>6229</c:v>
                </c:pt>
                <c:pt idx="8">
                  <c:v>5913</c:v>
                </c:pt>
                <c:pt idx="9">
                  <c:v>5278</c:v>
                </c:pt>
                <c:pt idx="10">
                  <c:v>5233</c:v>
                </c:pt>
                <c:pt idx="11">
                  <c:v>5525</c:v>
                </c:pt>
                <c:pt idx="12">
                  <c:v>5217</c:v>
                </c:pt>
                <c:pt idx="13">
                  <c:v>4917</c:v>
                </c:pt>
                <c:pt idx="14">
                  <c:v>4660</c:v>
                </c:pt>
                <c:pt idx="15">
                  <c:v>4413</c:v>
                </c:pt>
                <c:pt idx="16">
                  <c:v>4017</c:v>
                </c:pt>
                <c:pt idx="17">
                  <c:v>4025</c:v>
                </c:pt>
                <c:pt idx="18">
                  <c:v>4301</c:v>
                </c:pt>
                <c:pt idx="19">
                  <c:v>4132</c:v>
                </c:pt>
                <c:pt idx="20">
                  <c:v>3972</c:v>
                </c:pt>
                <c:pt idx="21">
                  <c:v>3740</c:v>
                </c:pt>
                <c:pt idx="22">
                  <c:v>3529</c:v>
                </c:pt>
                <c:pt idx="23">
                  <c:v>3178</c:v>
                </c:pt>
                <c:pt idx="24">
                  <c:v>3177</c:v>
                </c:pt>
                <c:pt idx="25">
                  <c:v>3328</c:v>
                </c:pt>
                <c:pt idx="26">
                  <c:v>3159</c:v>
                </c:pt>
                <c:pt idx="27">
                  <c:v>3014</c:v>
                </c:pt>
                <c:pt idx="28">
                  <c:v>2849</c:v>
                </c:pt>
                <c:pt idx="29">
                  <c:v>2689</c:v>
                </c:pt>
                <c:pt idx="30">
                  <c:v>2487</c:v>
                </c:pt>
                <c:pt idx="31">
                  <c:v>2512</c:v>
                </c:pt>
                <c:pt idx="32">
                  <c:v>2710</c:v>
                </c:pt>
                <c:pt idx="33">
                  <c:v>2538</c:v>
                </c:pt>
                <c:pt idx="34">
                  <c:v>2348</c:v>
                </c:pt>
                <c:pt idx="35">
                  <c:v>222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5</c:v>
                </c:pt>
                <c:pt idx="1">
                  <c:v>1424</c:v>
                </c:pt>
                <c:pt idx="2">
                  <c:v>1399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3</c:v>
                </c:pt>
                <c:pt idx="7">
                  <c:v>1314</c:v>
                </c:pt>
                <c:pt idx="8">
                  <c:v>1236</c:v>
                </c:pt>
                <c:pt idx="9">
                  <c:v>1220</c:v>
                </c:pt>
                <c:pt idx="10">
                  <c:v>1203</c:v>
                </c:pt>
                <c:pt idx="11">
                  <c:v>1189</c:v>
                </c:pt>
                <c:pt idx="12">
                  <c:v>1160</c:v>
                </c:pt>
                <c:pt idx="13">
                  <c:v>1116</c:v>
                </c:pt>
                <c:pt idx="14">
                  <c:v>1037</c:v>
                </c:pt>
                <c:pt idx="15">
                  <c:v>1016</c:v>
                </c:pt>
                <c:pt idx="16">
                  <c:v>976</c:v>
                </c:pt>
                <c:pt idx="17">
                  <c:v>978</c:v>
                </c:pt>
                <c:pt idx="18">
                  <c:v>997</c:v>
                </c:pt>
                <c:pt idx="19">
                  <c:v>946</c:v>
                </c:pt>
                <c:pt idx="20">
                  <c:v>912</c:v>
                </c:pt>
                <c:pt idx="21">
                  <c:v>837</c:v>
                </c:pt>
                <c:pt idx="22">
                  <c:v>790</c:v>
                </c:pt>
                <c:pt idx="23">
                  <c:v>754</c:v>
                </c:pt>
                <c:pt idx="24">
                  <c:v>764</c:v>
                </c:pt>
                <c:pt idx="25">
                  <c:v>742</c:v>
                </c:pt>
                <c:pt idx="26">
                  <c:v>716</c:v>
                </c:pt>
                <c:pt idx="27">
                  <c:v>691</c:v>
                </c:pt>
                <c:pt idx="28">
                  <c:v>640</c:v>
                </c:pt>
                <c:pt idx="29">
                  <c:v>581</c:v>
                </c:pt>
                <c:pt idx="30">
                  <c:v>560</c:v>
                </c:pt>
                <c:pt idx="31">
                  <c:v>566</c:v>
                </c:pt>
                <c:pt idx="32">
                  <c:v>572</c:v>
                </c:pt>
                <c:pt idx="33">
                  <c:v>548</c:v>
                </c:pt>
                <c:pt idx="34">
                  <c:v>497</c:v>
                </c:pt>
                <c:pt idx="35">
                  <c:v>468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14514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3949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1357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8390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238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486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744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180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72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5773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254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6018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46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64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06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583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1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713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8931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9820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297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004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32452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01270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8477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6778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0699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889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7069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34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45469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4249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403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88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8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8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jpeg"/><Relationship Id="rId5" Type="http://schemas.openxmlformats.org/officeDocument/2006/relationships/theme" Target="../theme/them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8.sv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70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41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chart" Target="../charts/chart7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657D4D3C-85F3-40E5-A5BC-893E8391CE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061128"/>
              </p:ext>
            </p:extLst>
          </p:nvPr>
        </p:nvGraphicFramePr>
        <p:xfrm>
          <a:off x="424200" y="4023587"/>
          <a:ext cx="11343600" cy="166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/>
                        <a:t>Stručný souhrn stávajícího stavu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/>
                        <a:t>- dne 08.05.2021 -</a:t>
                      </a:r>
                      <a:endParaRPr lang="cs-CZ" sz="39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6058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8905006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7644F2EA-32A5-4838-911F-FC5A9FB048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263578"/>
              </p:ext>
            </p:extLst>
          </p:nvPr>
        </p:nvGraphicFramePr>
        <p:xfrm>
          <a:off x="1485788" y="525645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93510" y="2652764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6170236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Počty testů dle indikace a účelu: 1. 5.–7. 5.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37" y="908304"/>
            <a:ext cx="11391900" cy="594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335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Zátěž nemocnic 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41803773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F17719A1-329B-4C6F-8F56-7A152DD4A5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351205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 10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62647CAE-1FBB-4953-86E4-A53701DA3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375042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7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6411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8285548"/>
              </p:ext>
            </p:extLst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03A92554-1838-4D05-A60F-10F7EA1FA5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597966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4.–8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4.–15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4.–22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4.–2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4.–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4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434186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7507567"/>
              </p:ext>
            </p:extLst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A1244CD0-C333-4403-83E4-DBC870BAF6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985694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4.–8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4.–15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4.–22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4.–2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4.–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8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50833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9194132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9409502D-289A-4C22-B2DA-B2937E12DC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154868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2990906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643128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037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676384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957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46265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81111" y="2486841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889A13F6-E50B-49C2-BEC4-13CDF74BB5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041076"/>
              </p:ext>
            </p:extLst>
          </p:nvPr>
        </p:nvGraphicFramePr>
        <p:xfrm>
          <a:off x="4539343" y="1864667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 48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51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142308"/>
            <a:ext cx="121253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očty nově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akažených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potenciálně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zranitelných pacientů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klesají.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V návaznosti na tento trend klesá počet nově hospitalizovaných pacientů s COVID-19. </a:t>
            </a:r>
            <a:r>
              <a:rPr lang="cs-CZ" sz="2800" b="1" dirty="0" smtClean="0">
                <a:solidFill>
                  <a:prstClr val="black"/>
                </a:solidFill>
                <a:latin typeface="Calibri" panose="020F0502020204030204"/>
              </a:rPr>
              <a:t>Kromě klesající virové zátěže populace jde o efekt postupující vakcinace. 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152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4166500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57783" y="2369255"/>
            <a:ext cx="2362704" cy="83099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C7A313DD-F6AD-4D19-A802-E2BEA1A0AF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202873"/>
              </p:ext>
            </p:extLst>
          </p:nvPr>
        </p:nvGraphicFramePr>
        <p:xfrm>
          <a:off x="4847792" y="1676043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19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21" name="TextovéPole 20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142308"/>
            <a:ext cx="121253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očty nově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akažených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 potenciálně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zranitelných pacientů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klesají.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V návaznosti na tento trend klesá počet nově hospitalizovaných pacientů s COVID-19. </a:t>
            </a:r>
            <a:r>
              <a:rPr lang="cs-CZ" sz="2800" b="1" dirty="0" smtClean="0">
                <a:solidFill>
                  <a:prstClr val="black"/>
                </a:solidFill>
                <a:latin typeface="Calibri" panose="020F0502020204030204"/>
              </a:rPr>
              <a:t>Kromě klesající virové zátěže populace jde o efekt postupující vakcinace. </a:t>
            </a: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2087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 fontScale="92500"/>
          </a:bodyPr>
          <a:lstStyle/>
          <a:p>
            <a:r>
              <a:rPr lang="cs-CZ" sz="5400" b="1" dirty="0"/>
              <a:t>Nově pozitivně diagnostikovaní </a:t>
            </a:r>
          </a:p>
          <a:p>
            <a:r>
              <a:rPr lang="cs-CZ" sz="5400" b="1" dirty="0"/>
              <a:t>– rozbor testů vedoucích k diagnóze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2707715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2CC07801-2575-4ADE-8214-E57E1F72AA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636997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7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631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 403 (86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697 (42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706 (43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28 (14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21 (7,4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7 (6,6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83B895F4-2305-4028-8AC4-CC86158432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667590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.2021–2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4 378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11 895 (82,7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6 339 (44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5 556 (38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2 483 (17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 249 (8,7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 234 (8,6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3015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7360783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1F10626B-76E7-4168-8120-D1577B9819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749503"/>
              </p:ext>
            </p:extLst>
          </p:nvPr>
        </p:nvGraphicFramePr>
        <p:xfrm>
          <a:off x="1526732" y="511994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34454" y="2639113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802399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5</Words>
  <Application>Microsoft Office PowerPoint</Application>
  <PresentationFormat>Širokoúhlá obrazovka</PresentationFormat>
  <Paragraphs>213</Paragraphs>
  <Slides>15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5</vt:i4>
      </vt:variant>
    </vt:vector>
  </HeadingPairs>
  <TitlesOfParts>
    <vt:vector size="23" baseType="lpstr">
      <vt:lpstr>Arial</vt:lpstr>
      <vt:lpstr>Arial (Základní text)</vt:lpstr>
      <vt:lpstr>Calibri</vt:lpstr>
      <vt:lpstr>Calibri Light</vt:lpstr>
      <vt:lpstr>Motiv Office</vt:lpstr>
      <vt:lpstr>1_Motiv systému Office</vt:lpstr>
      <vt:lpstr>1_Motiv Office</vt:lpstr>
      <vt:lpstr>3_Motiv Office</vt:lpstr>
      <vt:lpstr>Datová a informační základna  pro management pandemie COVID-19</vt:lpstr>
      <vt:lpstr>Prezentace aplikace PowerPoint</vt:lpstr>
      <vt:lpstr>Vybrané ukazatele – srovnání regionů</vt:lpstr>
      <vt:lpstr>Vybrané ukazatele – srovnání regionů</vt:lpstr>
      <vt:lpstr>Prezentace aplikace PowerPoint</vt:lpstr>
      <vt:lpstr>Prezentace aplikace PowerPoint</vt:lpstr>
      <vt:lpstr>Datová a informační základna  pro management pandemie COVID-19</vt:lpstr>
      <vt:lpstr>Typologie pozitivních případů</vt:lpstr>
      <vt:lpstr>Podíl pozitivních testů: diagnostické indikace </vt:lpstr>
      <vt:lpstr>Podíl pozitivních testů: epidemiologické indikace</vt:lpstr>
      <vt:lpstr>Počty testů dle indikace a účelu: 1. 5.–7. 5.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4T08:39:59Z</dcterms:created>
  <dcterms:modified xsi:type="dcterms:W3CDTF">2021-05-08T17:56:12Z</dcterms:modified>
</cp:coreProperties>
</file>